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2"/>
  </p:notesMasterIdLst>
  <p:handoutMasterIdLst>
    <p:handoutMasterId r:id="rId13"/>
  </p:handoutMasterIdLst>
  <p:sldIdLst>
    <p:sldId id="259" r:id="rId6"/>
    <p:sldId id="260" r:id="rId7"/>
    <p:sldId id="262" r:id="rId8"/>
    <p:sldId id="264" r:id="rId9"/>
    <p:sldId id="268" r:id="rId10"/>
    <p:sldId id="267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3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ilde 1">
            <a:extLst>
              <a:ext uri="{FF2B5EF4-FFF2-40B4-BE49-F238E27FC236}">
                <a16:creationId xmlns:a16="http://schemas.microsoft.com/office/drawing/2014/main" id="{EE0CD7F0-30C8-43B7-B242-F4265D8F19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F75E96B1-59B4-49F2-8780-4B013D77EC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038" y="239167"/>
            <a:ext cx="5075367" cy="1465346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nb-NO" sz="3600" dirty="0">
                <a:solidFill>
                  <a:srgbClr val="000000"/>
                </a:solidFill>
              </a:rPr>
              <a:t>Det humanistiske fakultet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4D07ED84-F913-4C4B-8625-8CA71885D38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Dragana Grulovic og Andrine Roland Spets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B4C26C03-98CE-40E6-8B61-EA77C91506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Studiekonsulenter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293BA51C-71D7-4097-A2C3-804D0EF4BC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 sz="1400" dirty="0">
                <a:solidFill>
                  <a:srgbClr val="000000"/>
                </a:solidFill>
              </a:rPr>
              <a:t>09.03.23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5F5914B5-8ACE-4D6E-B509-B256B6F8C11E}"/>
              </a:ext>
            </a:extLst>
          </p:cNvPr>
          <p:cNvSpPr/>
          <p:nvPr/>
        </p:nvSpPr>
        <p:spPr>
          <a:xfrm>
            <a:off x="0" y="2428836"/>
            <a:ext cx="6209880" cy="9459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/>
            <a:r>
              <a:rPr lang="nb-NO" sz="2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Hva vil det si å være studieforberedt?</a:t>
            </a:r>
          </a:p>
        </p:txBody>
      </p:sp>
    </p:spTree>
    <p:extLst>
      <p:ext uri="{BB962C8B-B14F-4D97-AF65-F5344CB8AC3E}">
        <p14:creationId xmlns:p14="http://schemas.microsoft.com/office/powerpoint/2010/main" val="760086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F0604CE4-87A8-4A96-89AE-FE228F8A68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725" y="35611"/>
            <a:ext cx="7981950" cy="3491127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15B5D12F-80D0-48C0-9963-8A2841D33E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8400" y="3152775"/>
            <a:ext cx="9201150" cy="3705225"/>
          </a:xfrm>
          <a:prstGeom prst="rect">
            <a:avLst/>
          </a:prstGeom>
        </p:spPr>
      </p:pic>
      <p:pic>
        <p:nvPicPr>
          <p:cNvPr id="13" name="Bilde 12">
            <a:extLst>
              <a:ext uri="{FF2B5EF4-FFF2-40B4-BE49-F238E27FC236}">
                <a16:creationId xmlns:a16="http://schemas.microsoft.com/office/drawing/2014/main" id="{D94F48D5-92B2-4DBE-BC13-3CF0FB435D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43412" y="2214562"/>
            <a:ext cx="7248525" cy="60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3098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tel 10">
            <a:extLst>
              <a:ext uri="{FF2B5EF4-FFF2-40B4-BE49-F238E27FC236}">
                <a16:creationId xmlns:a16="http://schemas.microsoft.com/office/drawing/2014/main" id="{DC688C7C-3E12-45B5-AA73-C81F962D6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niversitetsspråk – hvordan oppdage en førsteårsstudent</a:t>
            </a:r>
          </a:p>
        </p:txBody>
      </p:sp>
      <p:sp>
        <p:nvSpPr>
          <p:cNvPr id="12" name="Plassholder for innhold 11">
            <a:extLst>
              <a:ext uri="{FF2B5EF4-FFF2-40B4-BE49-F238E27FC236}">
                <a16:creationId xmlns:a16="http://schemas.microsoft.com/office/drawing/2014/main" id="{B61DD690-85FA-49A7-A417-266DF2EA36CF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endParaRPr lang="nb-NO" dirty="0"/>
          </a:p>
          <a:p>
            <a:pPr>
              <a:buFont typeface="Wingdings" panose="05000000000000000000" pitchFamily="2" charset="2"/>
              <a:buChar char="§"/>
            </a:pPr>
            <a:r>
              <a:rPr lang="nb-NO" dirty="0"/>
              <a:t>Du er student, ikke elev</a:t>
            </a:r>
            <a:br>
              <a:rPr lang="nb-NO" dirty="0"/>
            </a:br>
            <a:endParaRPr lang="nb-NO" dirty="0"/>
          </a:p>
          <a:p>
            <a:pPr>
              <a:buFont typeface="Wingdings" panose="05000000000000000000" pitchFamily="2" charset="2"/>
              <a:buChar char="§"/>
            </a:pPr>
            <a:r>
              <a:rPr lang="nb-NO" dirty="0"/>
              <a:t>Dette er universitetet, ikke skolen</a:t>
            </a:r>
            <a:br>
              <a:rPr lang="nb-NO" dirty="0"/>
            </a:br>
            <a:endParaRPr lang="nb-NO" dirty="0"/>
          </a:p>
          <a:p>
            <a:pPr>
              <a:buFont typeface="Wingdings" panose="05000000000000000000" pitchFamily="2" charset="2"/>
              <a:buChar char="§"/>
            </a:pPr>
            <a:r>
              <a:rPr lang="nb-NO" dirty="0"/>
              <a:t>Det heter emner, ikke fag </a:t>
            </a:r>
            <a:br>
              <a:rPr lang="nb-NO" dirty="0"/>
            </a:br>
            <a:endParaRPr lang="nb-NO" dirty="0"/>
          </a:p>
          <a:p>
            <a:pPr>
              <a:buFont typeface="Wingdings" panose="05000000000000000000" pitchFamily="2" charset="2"/>
              <a:buChar char="§"/>
            </a:pPr>
            <a:r>
              <a:rPr lang="nb-NO" dirty="0"/>
              <a:t>Du har ikke en klasse, men tilhører et kull</a:t>
            </a:r>
            <a:br>
              <a:rPr lang="nb-NO" dirty="0"/>
            </a:br>
            <a:endParaRPr lang="nb-NO" dirty="0"/>
          </a:p>
          <a:p>
            <a:pPr>
              <a:buFont typeface="Wingdings" panose="05000000000000000000" pitchFamily="2" charset="2"/>
              <a:buChar char="§"/>
            </a:pPr>
            <a:r>
              <a:rPr lang="nb-NO" dirty="0"/>
              <a:t>Faglærer er ikke kontaktlærer </a:t>
            </a:r>
          </a:p>
          <a:p>
            <a:endParaRPr lang="nb-NO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5C3D7995-31A7-41FC-8F56-6F6AE05E1DB0}"/>
              </a:ext>
            </a:extLst>
          </p:cNvPr>
          <p:cNvSpPr/>
          <p:nvPr/>
        </p:nvSpPr>
        <p:spPr>
          <a:xfrm>
            <a:off x="4012707" y="1340179"/>
            <a:ext cx="4296792" cy="5795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/>
              <a:t>Ansvar for egen læring. Selvstendig orientering</a:t>
            </a:r>
            <a:r>
              <a:rPr lang="nb-NO" sz="1100" dirty="0"/>
              <a:t>. 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C6F7219E-3C0E-4E5A-AB35-ED39B7166144}"/>
              </a:ext>
            </a:extLst>
          </p:cNvPr>
          <p:cNvSpPr/>
          <p:nvPr/>
        </p:nvSpPr>
        <p:spPr>
          <a:xfrm>
            <a:off x="5424256" y="2374602"/>
            <a:ext cx="5770486" cy="541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/>
              <a:t>Du har valgt å være her selv. Må innrette deg etter gjeldende regler</a:t>
            </a:r>
            <a:r>
              <a:rPr lang="nb-NO" dirty="0"/>
              <a:t>. 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79270071-3F33-403E-B025-441D1086B104}"/>
              </a:ext>
            </a:extLst>
          </p:cNvPr>
          <p:cNvSpPr/>
          <p:nvPr/>
        </p:nvSpPr>
        <p:spPr>
          <a:xfrm>
            <a:off x="4314549" y="3240351"/>
            <a:ext cx="5211192" cy="5060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/>
              <a:t>Forskjell på disse. Avslører studentens forståelse av systemet. </a:t>
            </a: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6C2D68E8-82B7-4315-AF3B-2AFCA0E8DFEB}"/>
              </a:ext>
            </a:extLst>
          </p:cNvPr>
          <p:cNvSpPr/>
          <p:nvPr/>
        </p:nvSpPr>
        <p:spPr>
          <a:xfrm>
            <a:off x="6241002" y="4188143"/>
            <a:ext cx="5590952" cy="5060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/>
              <a:t>Du må ta ansvar for å skape din sosiale og </a:t>
            </a:r>
            <a:r>
              <a:rPr lang="nb-NO" sz="1400" dirty="0" err="1"/>
              <a:t>læringsmessige</a:t>
            </a:r>
            <a:r>
              <a:rPr lang="nb-NO" sz="1400" dirty="0"/>
              <a:t> arena. 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0E485967-66F2-4EC4-9F3A-1DE26F7E8DFA}"/>
              </a:ext>
            </a:extLst>
          </p:cNvPr>
          <p:cNvSpPr/>
          <p:nvPr/>
        </p:nvSpPr>
        <p:spPr>
          <a:xfrm>
            <a:off x="4705165" y="5291091"/>
            <a:ext cx="7126789" cy="5060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/>
              <a:t>Faglærer formidler pensum. Er ikke din kontaktperson for andre ting enn rent faglige spørsmål. </a:t>
            </a:r>
          </a:p>
        </p:txBody>
      </p:sp>
    </p:spTree>
    <p:extLst>
      <p:ext uri="{BB962C8B-B14F-4D97-AF65-F5344CB8AC3E}">
        <p14:creationId xmlns:p14="http://schemas.microsoft.com/office/powerpoint/2010/main" val="39427700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D43A287E-364F-4E72-A437-D88C17C21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«Nei, det har jeg ikke fått beskjed om»</a:t>
            </a:r>
            <a:br>
              <a:rPr lang="nb-NO"/>
            </a:br>
            <a:endParaRPr lang="nb-NO" dirty="0"/>
          </a:p>
        </p:txBody>
      </p:sp>
      <p:sp>
        <p:nvSpPr>
          <p:cNvPr id="6" name="Plassholder for innhold 18">
            <a:extLst>
              <a:ext uri="{FF2B5EF4-FFF2-40B4-BE49-F238E27FC236}">
                <a16:creationId xmlns:a16="http://schemas.microsoft.com/office/drawing/2014/main" id="{81F077A4-5A1B-49AA-B65D-917F29A69A0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6600050" cy="507118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Nettsidene – kilden til alt </a:t>
            </a:r>
          </a:p>
          <a:p>
            <a:pPr marL="903296" lvl="1" indent="-342900"/>
            <a:r>
              <a:rPr lang="nb-NO" dirty="0"/>
              <a:t>Emner, pensum, timepla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Venter på informasjon fremfor å aktivt lete selv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Ansvarsfraskrivelse fra selvstendige valg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Konsekvenser av dette:</a:t>
            </a:r>
          </a:p>
          <a:p>
            <a:pPr marL="903296" lvl="1" indent="-342900"/>
            <a:r>
              <a:rPr lang="nb-NO" dirty="0"/>
              <a:t>Mister studierett</a:t>
            </a:r>
          </a:p>
          <a:p>
            <a:pPr marL="903296" lvl="1" indent="-342900"/>
            <a:r>
              <a:rPr lang="nb-NO" dirty="0"/>
              <a:t>Får ikke ta eksamen</a:t>
            </a:r>
          </a:p>
          <a:p>
            <a:pPr marL="903296" lvl="1" indent="-342900"/>
            <a:r>
              <a:rPr lang="nb-NO" dirty="0"/>
              <a:t>Får ikke emner de vil ta </a:t>
            </a:r>
          </a:p>
          <a:p>
            <a:pPr marL="903296" lvl="1" indent="-342900"/>
            <a:r>
              <a:rPr lang="nb-NO" dirty="0"/>
              <a:t>Får ikke tilrettelegging </a:t>
            </a:r>
          </a:p>
          <a:p>
            <a:pPr marL="903296" lvl="1" indent="-342900"/>
            <a:r>
              <a:rPr lang="nb-NO" dirty="0"/>
              <a:t>Blir hengende et år etter kullet sit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</p:txBody>
      </p:sp>
      <p:pic>
        <p:nvPicPr>
          <p:cNvPr id="10" name="Bilde 9" descr="Et bilde som inneholder tekst, person, kvinne, personer&#10;&#10;Automatisk generert beskrivelse">
            <a:extLst>
              <a:ext uri="{FF2B5EF4-FFF2-40B4-BE49-F238E27FC236}">
                <a16:creationId xmlns:a16="http://schemas.microsoft.com/office/drawing/2014/main" id="{CD00AA11-5414-425A-9EF3-C070967AEAB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69" r="9858"/>
          <a:stretch/>
        </p:blipFill>
        <p:spPr>
          <a:xfrm>
            <a:off x="6960094" y="1649118"/>
            <a:ext cx="4797197" cy="4391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0409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D43A287E-364F-4E72-A437-D88C17C21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a vi kunne ønske de visste ..</a:t>
            </a:r>
            <a:r>
              <a:rPr lang="nb-NO" dirty="0">
                <a:sym typeface="Wingdings" panose="05000000000000000000" pitchFamily="2" charset="2"/>
              </a:rPr>
              <a:t></a:t>
            </a:r>
            <a:br>
              <a:rPr lang="nb-NO" dirty="0"/>
            </a:br>
            <a:endParaRPr lang="nb-NO" dirty="0"/>
          </a:p>
        </p:txBody>
      </p:sp>
      <p:sp>
        <p:nvSpPr>
          <p:cNvPr id="6" name="Plassholder for innhold 18">
            <a:extLst>
              <a:ext uri="{FF2B5EF4-FFF2-40B4-BE49-F238E27FC236}">
                <a16:creationId xmlns:a16="http://schemas.microsoft.com/office/drawing/2014/main" id="{81F077A4-5A1B-49AA-B65D-917F29A69A0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6600050" cy="507118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Utforske nettsidene – kilden til alt </a:t>
            </a:r>
          </a:p>
          <a:p>
            <a:pPr marL="903296" lvl="1" indent="-342900"/>
            <a:r>
              <a:rPr lang="nb-NO" dirty="0"/>
              <a:t>Emner, pensum, timeplan, nyttige videoer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Merke seg fristene før de kommer </a:t>
            </a:r>
          </a:p>
          <a:p>
            <a:pPr marL="903296" lvl="1" indent="-342900"/>
            <a:r>
              <a:rPr lang="nb-NO" dirty="0"/>
              <a:t>Semesteravgift, registrer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Planlegge utdanningsløpe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Forståelse av system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Ansvarsbevissthet </a:t>
            </a:r>
          </a:p>
          <a:p>
            <a:pPr marL="0" indent="0"/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</p:txBody>
      </p:sp>
      <p:pic>
        <p:nvPicPr>
          <p:cNvPr id="2" name="Bilde 2" descr="Et bilde som inneholder himmel, utendørs, bygning, person&#10;&#10;Automatisk generert beskrivelse">
            <a:extLst>
              <a:ext uri="{FF2B5EF4-FFF2-40B4-BE49-F238E27FC236}">
                <a16:creationId xmlns:a16="http://schemas.microsoft.com/office/drawing/2014/main" id="{277DE1FB-E53A-84DB-937A-2AF5B6EC16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094" y="807082"/>
            <a:ext cx="4639096" cy="5243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2314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333FFB90-465B-451A-A678-9488B2DAD5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1758950"/>
            <a:ext cx="5843588" cy="4295775"/>
          </a:xfrm>
          <a:prstGeom prst="rect">
            <a:avLst/>
          </a:prstGeom>
        </p:spPr>
      </p:pic>
      <p:sp>
        <p:nvSpPr>
          <p:cNvPr id="4" name="Tittel 3">
            <a:extLst>
              <a:ext uri="{FF2B5EF4-FFF2-40B4-BE49-F238E27FC236}">
                <a16:creationId xmlns:a16="http://schemas.microsoft.com/office/drawing/2014/main" id="{B95BB639-F6C4-4DEF-A022-3356E74B9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nb-NO"/>
              <a:t>Kontaktinfo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9E4423A9-1EBD-4C9A-ABCD-F18DAA0D7E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0762" y="1680873"/>
            <a:ext cx="5886450" cy="4124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956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customXml/itemProps4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155</TotalTime>
  <Words>222</Words>
  <Application>Microsoft Office PowerPoint</Application>
  <PresentationFormat>Widescreen</PresentationFormat>
  <Paragraphs>39</Paragraphs>
  <Slides>6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6</vt:i4>
      </vt:variant>
    </vt:vector>
  </HeadingPairs>
  <TitlesOfParts>
    <vt:vector size="13" baseType="lpstr">
      <vt:lpstr>Arial</vt:lpstr>
      <vt:lpstr>Arial, sans-serif</vt:lpstr>
      <vt:lpstr>Calibri</vt:lpstr>
      <vt:lpstr>Helvetica</vt:lpstr>
      <vt:lpstr>Wingdings</vt:lpstr>
      <vt:lpstr>Office-tema</vt:lpstr>
      <vt:lpstr>think-cell Slide</vt:lpstr>
      <vt:lpstr>Det humanistiske fakultet</vt:lpstr>
      <vt:lpstr>PowerPoint-presentasjon</vt:lpstr>
      <vt:lpstr>Universitetsspråk – hvordan oppdage en førsteårsstudent</vt:lpstr>
      <vt:lpstr>«Nei, det har jeg ikke fått beskjed om» </vt:lpstr>
      <vt:lpstr>Hva vi kunne ønske de visste .. </vt:lpstr>
      <vt:lpstr>Kontaktinf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Dragana Grulovic</dc:creator>
  <cp:lastModifiedBy>Stine Øfsdahl</cp:lastModifiedBy>
  <cp:revision>25</cp:revision>
  <dcterms:created xsi:type="dcterms:W3CDTF">2022-10-24T08:39:48Z</dcterms:created>
  <dcterms:modified xsi:type="dcterms:W3CDTF">2023-03-07T08:4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